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2"/>
  </p:notesMasterIdLst>
  <p:sldIdLst>
    <p:sldId id="1522" r:id="rId2"/>
    <p:sldId id="1529" r:id="rId3"/>
    <p:sldId id="1526" r:id="rId4"/>
    <p:sldId id="1527" r:id="rId5"/>
    <p:sldId id="1530" r:id="rId6"/>
    <p:sldId id="1510" r:id="rId7"/>
    <p:sldId id="1525" r:id="rId8"/>
    <p:sldId id="1528" r:id="rId9"/>
    <p:sldId id="1524" r:id="rId10"/>
    <p:sldId id="152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6EA5"/>
    <a:srgbClr val="001484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62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1/2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lang="en-US" dirty="0">
                <a:solidFill>
                  <a:prstClr val="white"/>
                </a:solidFill>
                <a:latin typeface="Century Gothic"/>
              </a:rPr>
              <a:t>23  Novemb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23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1B49459-E4E3-416F-8627-01266A76D0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392" y="3429000"/>
            <a:ext cx="10945216" cy="1873674"/>
          </a:xfrm>
        </p:spPr>
        <p:txBody>
          <a:bodyPr>
            <a:normAutofit/>
          </a:bodyPr>
          <a:lstStyle/>
          <a:p>
            <a:pPr algn="ctr"/>
            <a:r>
              <a:rPr lang="en-ZA" sz="3600" b="1" dirty="0" smtClean="0"/>
              <a:t>Garden Route IDP/Budget/PMS </a:t>
            </a:r>
            <a:r>
              <a:rPr lang="en-ZA" sz="3600" b="1" dirty="0"/>
              <a:t>Rep Forum</a:t>
            </a:r>
          </a:p>
          <a:p>
            <a:endParaRPr lang="en-ZA" sz="3200" b="0" dirty="0"/>
          </a:p>
          <a:p>
            <a:pPr algn="ctr"/>
            <a:r>
              <a:rPr lang="en-ZA" sz="3200" dirty="0" smtClean="0"/>
              <a:t> </a:t>
            </a:r>
            <a:endParaRPr lang="en-ZA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5BBE53-34E2-45CD-AF43-F27D9DB28635}"/>
              </a:ext>
            </a:extLst>
          </p:cNvPr>
          <p:cNvSpPr txBox="1"/>
          <p:nvPr/>
        </p:nvSpPr>
        <p:spPr>
          <a:xfrm>
            <a:off x="5574247" y="888206"/>
            <a:ext cx="47594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epartment </a:t>
            </a:r>
            <a:r>
              <a:rPr kumimoji="0" lang="en-ZA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f Agricultur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195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205491" y="5229160"/>
            <a:ext cx="55579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el: +27 21 </a:t>
            </a:r>
            <a:r>
              <a:rPr kumimoji="0" lang="en-ZA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808 7762 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| Cell: +</a:t>
            </a:r>
            <a:r>
              <a:rPr kumimoji="0" lang="en-ZA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7 082 468 6166  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Japie.Kritzinger@westerncape.gov.za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ww.westerncape.gov.za</a:t>
            </a:r>
          </a:p>
        </p:txBody>
      </p:sp>
    </p:spTree>
    <p:extLst>
      <p:ext uri="{BB962C8B-B14F-4D97-AF65-F5344CB8AC3E}">
        <p14:creationId xmlns:p14="http://schemas.microsoft.com/office/powerpoint/2010/main" val="437247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/>
            <a:r>
              <a:rPr lang="en-GB" sz="3200" dirty="0" smtClean="0"/>
              <a:t>Support available to municipalities</a:t>
            </a:r>
            <a:endParaRPr lang="en-GB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93702" y="1046951"/>
            <a:ext cx="11462938" cy="5105656"/>
          </a:xfrm>
        </p:spPr>
        <p:txBody>
          <a:bodyPr>
            <a:noAutofit/>
          </a:bodyPr>
          <a:lstStyle/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dirty="0"/>
              <a:t> </a:t>
            </a:r>
            <a:r>
              <a:rPr lang="en-US" sz="1600" b="1" dirty="0" smtClean="0"/>
              <a:t>Sustainable Resource Use Management (SRUM)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Agricultural Engineering Services, </a:t>
            </a:r>
            <a:r>
              <a:rPr lang="en-US" sz="1600" dirty="0" err="1" smtClean="0"/>
              <a:t>LandCare</a:t>
            </a:r>
            <a:r>
              <a:rPr lang="en-US" sz="1600" dirty="0" smtClean="0"/>
              <a:t>, Land Use Management, Disaster Risk Reduction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600" dirty="0"/>
          </a:p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b="1" dirty="0" smtClean="0"/>
              <a:t>Agricultural Producer Support and Development (APSD)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Producer support services, Extension &amp; Advisory Services, Food Security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600" dirty="0"/>
          </a:p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b="1" dirty="0" smtClean="0"/>
              <a:t>Veterinary Service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Animal Health, Veterinary Public Health (Food Safety)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600" dirty="0"/>
          </a:p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b="1" dirty="0" smtClean="0"/>
              <a:t>Research and Technology Development Services (RTDS)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Agricultural Research, Technology Transfer Services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600" dirty="0"/>
          </a:p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b="1" dirty="0" smtClean="0"/>
              <a:t>Agricultural Economic Services (AES)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Production economics and Marketing support, Agro-processing support, Macroeconomics  support.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600" dirty="0"/>
          </a:p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b="1" dirty="0" smtClean="0"/>
              <a:t>Agricultural Education and Training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Higher Education and Training, Agricultural Skills Development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600" dirty="0" smtClean="0"/>
          </a:p>
          <a:p>
            <a:pPr lvl="1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600" b="1" dirty="0" smtClean="0"/>
              <a:t>Rural Development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600" dirty="0" smtClean="0"/>
              <a:t>-Rural Development Coordination, Social Facilitation, Farmworker Development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2000" dirty="0" smtClean="0"/>
          </a:p>
          <a:p>
            <a:pPr marL="0" lvl="1" indent="0">
              <a:spcBef>
                <a:spcPts val="0"/>
              </a:spcBef>
              <a:buNone/>
            </a:pPr>
            <a:endParaRPr lang="en-US" sz="2000" dirty="0"/>
          </a:p>
          <a:p>
            <a:pPr marL="0" lvl="1" indent="0">
              <a:spcBef>
                <a:spcPts val="0"/>
              </a:spcBef>
              <a:buNone/>
            </a:pPr>
            <a:r>
              <a:rPr lang="en-US" sz="2000" dirty="0" smtClean="0"/>
              <a:t> 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800" dirty="0"/>
          </a:p>
          <a:p>
            <a:pPr marL="0" lvl="1" indent="0">
              <a:spcBef>
                <a:spcPts val="0"/>
              </a:spcBef>
              <a:buNone/>
            </a:pPr>
            <a:endParaRPr lang="en-US" sz="1800" dirty="0" smtClean="0"/>
          </a:p>
          <a:p>
            <a:pPr marL="0" lvl="1" indent="0">
              <a:spcBef>
                <a:spcPts val="0"/>
              </a:spcBef>
              <a:buNone/>
            </a:pPr>
            <a:r>
              <a:rPr lang="en-US" sz="1800" dirty="0" smtClean="0"/>
              <a:t>;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800" dirty="0" smtClean="0"/>
              <a:t>; 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1800" dirty="0" smtClean="0"/>
              <a:t></a:t>
            </a:r>
            <a:endParaRPr lang="en-US" sz="1800" dirty="0"/>
          </a:p>
          <a:p>
            <a:pPr marL="0" lvl="1" indent="0">
              <a:spcBef>
                <a:spcPts val="0"/>
              </a:spcBef>
              <a:buNone/>
            </a:pPr>
            <a:endParaRPr lang="en-US" sz="1800" dirty="0"/>
          </a:p>
          <a:p>
            <a:pPr marL="135000" lvl="2" indent="0">
              <a:spcBef>
                <a:spcPts val="0"/>
              </a:spcBef>
              <a:buNone/>
            </a:pPr>
            <a:endParaRPr lang="en-ZA" sz="1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202F56-A9A7-4153-B87B-C1665D4633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>
                <a:solidFill>
                  <a:srgbClr val="998F86"/>
                </a:solidFill>
              </a:rPr>
              <a:t>Drones in the WCDoA</a:t>
            </a:r>
            <a:endParaRPr lang="en-GB" dirty="0">
              <a:solidFill>
                <a:srgbClr val="998F86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750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zoom dir="in"/>
      </p:transition>
    </mc:Choice>
    <mc:Fallback xmlns="">
      <p:transition spd="slow">
        <p:zoom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9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9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9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9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9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sz="2400" dirty="0"/>
              <a:t>STATUS OF EXISTING/PLANNED PROJECTS WITHIN 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 smtClean="0"/>
              <a:t>GARDEN ROUTE DISTRICT</a:t>
            </a:r>
            <a:r>
              <a:rPr lang="en-US" sz="2400" dirty="0" smtClean="0"/>
              <a:t> </a:t>
            </a:r>
            <a:r>
              <a:rPr lang="en-US" sz="2400" dirty="0"/>
              <a:t>(2023/24-2025/26) </a:t>
            </a: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923730"/>
              </p:ext>
            </p:extLst>
          </p:nvPr>
        </p:nvGraphicFramePr>
        <p:xfrm>
          <a:off x="587831" y="1266099"/>
          <a:ext cx="11308247" cy="4755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56138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1828261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2006800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868032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2149016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115787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SUSTAINABLE RESOURCE USE AND MANAGEMENT  PROGRAMME</a:t>
                      </a:r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74779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 smtClean="0">
                          <a:latin typeface="Century Gothic" panose="020B0502020202020204" pitchFamily="34" charset="0"/>
                        </a:rPr>
                        <a:t>2022/23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 smtClean="0">
                          <a:latin typeface="Century Gothic" panose="020B0502020202020204" pitchFamily="34" charset="0"/>
                        </a:rPr>
                        <a:t>2023/24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  <a:endParaRPr lang="en-ZA" sz="3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ZA" sz="16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</a:rPr>
                        <a:t>2024/25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  <a:endParaRPr lang="en-ZA" sz="16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644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dCare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Alie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learing project-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r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le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iver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dtshoor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eorg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500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pen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00 in progress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0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2672"/>
                  </a:ext>
                </a:extLst>
              </a:tr>
              <a:tr h="9161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dCare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Alie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learing project-Van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yksdorp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ivers and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lsriver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Calitzdorp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nnaland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200 spen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948 in progress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50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1624820"/>
                  </a:ext>
                </a:extLst>
              </a:tr>
              <a:tr h="644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dCare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Alie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learing project-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iwenhok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douw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tt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ssequa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270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pen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00 in progress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0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644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dCare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Alie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learing project-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manassie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iver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dtshoor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Georg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300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 progress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947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sz="2400" dirty="0"/>
              <a:t>STATUS OF EXISTING/PLANNED PROJECTS WITHIN 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 smtClean="0"/>
              <a:t>GARDEN ROUTE DISTRICT</a:t>
            </a:r>
            <a:r>
              <a:rPr lang="en-US" sz="2400" dirty="0" smtClean="0"/>
              <a:t> </a:t>
            </a:r>
            <a:r>
              <a:rPr lang="en-US" sz="2400" dirty="0"/>
              <a:t>(2023/24-2025/26) </a:t>
            </a: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752374"/>
              </p:ext>
            </p:extLst>
          </p:nvPr>
        </p:nvGraphicFramePr>
        <p:xfrm>
          <a:off x="364530" y="1331414"/>
          <a:ext cx="11531548" cy="475875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05749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1729000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1897846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766612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2032341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104010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AGRICULTURAL</a:t>
                      </a:r>
                      <a:r>
                        <a:rPr lang="en-ZA" sz="1800" b="1" baseline="0" dirty="0" smtClean="0">
                          <a:latin typeface="Century Gothic" panose="020B0502020202020204" pitchFamily="34" charset="0"/>
                        </a:rPr>
                        <a:t> PRODUCER SUPPORT AND DEVELOPMENT PROGRAMME</a:t>
                      </a:r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67173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3/24 (R’000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4/25 (R’000)</a:t>
                      </a:r>
                      <a:endParaRPr lang="en-ZA" sz="3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ZA" sz="1600" b="1" kern="120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</a:rPr>
                        <a:t>2025/26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  <a:endParaRPr lang="en-ZA" sz="16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7229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Black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mmercial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jects: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elphy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TY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rold Meander PTY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rg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 595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dat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ZA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2672"/>
                  </a:ext>
                </a:extLst>
              </a:tr>
              <a:tr h="669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ld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ood Day</a:t>
                      </a:r>
                    </a:p>
                    <a:p>
                      <a:pPr marL="0" algn="l" defTabSz="914400" rtl="0" eaLnBrk="1" latinLnBrk="0" hangingPunct="1"/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ctober 2023)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tou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91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7226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od Security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jects including:</a:t>
                      </a:r>
                    </a:p>
                    <a:p>
                      <a:pPr marL="0" algn="l" defTabSz="914400" rtl="0" eaLnBrk="1" latinLnBrk="0" hangingPunct="1"/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Household, subsistence, smallholder and commercial)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rge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sselbay</a:t>
                      </a:r>
                      <a:endParaRPr lang="en-U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nysna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ssequa</a:t>
                      </a:r>
                      <a:endParaRPr lang="en-U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tou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19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506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sz="2400" dirty="0"/>
              <a:t>STATUS OF EXISTING/PLANNED </a:t>
            </a:r>
            <a:r>
              <a:rPr lang="en-US" sz="2400" dirty="0" smtClean="0"/>
              <a:t>PROJECTS</a:t>
            </a:r>
            <a:br>
              <a:rPr lang="en-US" sz="2400" dirty="0" smtClean="0"/>
            </a:br>
            <a:r>
              <a:rPr lang="en-US" sz="2400" dirty="0" smtClean="0"/>
              <a:t> </a:t>
            </a:r>
            <a:r>
              <a:rPr lang="en-US" sz="2400" dirty="0"/>
              <a:t>WITHIN </a:t>
            </a:r>
            <a:r>
              <a:rPr lang="en-US" sz="2400" dirty="0" smtClean="0"/>
              <a:t>GARDEN ROUTE DISTRICT </a:t>
            </a:r>
            <a:r>
              <a:rPr lang="en-US" sz="2400" dirty="0"/>
              <a:t>(2023/24-2025/26) </a:t>
            </a: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938131"/>
              </p:ext>
            </p:extLst>
          </p:nvPr>
        </p:nvGraphicFramePr>
        <p:xfrm>
          <a:off x="364530" y="1109343"/>
          <a:ext cx="11531548" cy="498260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05749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2818027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1640541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613647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1353584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62532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AGRICULTURAL</a:t>
                      </a:r>
                      <a:r>
                        <a:rPr lang="en-ZA" sz="1800" b="1" baseline="0" dirty="0" smtClean="0">
                          <a:latin typeface="Century Gothic" panose="020B0502020202020204" pitchFamily="34" charset="0"/>
                        </a:rPr>
                        <a:t> PRODUCER SUPPORT AND DEVELOPMENT PROGRAMME</a:t>
                      </a:r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44375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3/24 (R’000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4/25 (R’000)</a:t>
                      </a:r>
                      <a:endParaRPr lang="en-ZA" sz="3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ZA" sz="1600" b="1" kern="120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</a:rPr>
                        <a:t>2025/26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  <a:endParaRPr lang="en-ZA" sz="16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5583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Black Commercial &amp; Smallholder project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rge-</a:t>
                      </a:r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Uniondale/</a:t>
                      </a:r>
                    </a:p>
                    <a:p>
                      <a:pPr marL="0" algn="l" defTabSz="914400" rtl="0" eaLnBrk="1" latinLnBrk="0" hangingPunct="1"/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arlem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600</a:t>
                      </a:r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60%</a:t>
                      </a:r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mplete)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 70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ZA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2672"/>
                  </a:ext>
                </a:extLst>
              </a:tr>
              <a:tr h="5278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Black Commercial &amp; Smallholder projects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dtshoorn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800 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6280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Black Commercial &amp; Smallholder project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nnaland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00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0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  <a:tr h="595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sistance Farming projects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rge (Uniondale/Haarlem (14)</a:t>
                      </a:r>
                    </a:p>
                    <a:p>
                      <a:pPr marL="0" algn="l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dtshoorn (3)</a:t>
                      </a:r>
                    </a:p>
                    <a:p>
                      <a:pPr marL="0" algn="l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nnaland (1)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00</a:t>
                      </a:r>
                    </a:p>
                    <a:p>
                      <a:pPr marL="0" algn="ctr" defTabSz="914400" rtl="0" eaLnBrk="1" latinLnBrk="0" hangingPunct="1"/>
                      <a:endParaRPr lang="af-ZA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8 </a:t>
                      </a:r>
                    </a:p>
                    <a:p>
                      <a:pPr marL="0" algn="ctr" defTabSz="914400" rtl="0" eaLnBrk="1" latinLnBrk="0" hangingPunct="1"/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6 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ttle Karoo,</a:t>
                      </a:r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1 Milj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f-ZA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ttle Karoo,</a:t>
                      </a:r>
                      <a:r>
                        <a:rPr lang="af-ZA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1 Milj</a:t>
                      </a:r>
                      <a:endParaRPr lang="en-ZA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859020"/>
                  </a:ext>
                </a:extLst>
              </a:tr>
              <a:tr h="727464"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+mn-lt"/>
                        </a:rPr>
                        <a:t>195 Household Gardens</a:t>
                      </a:r>
                      <a:endParaRPr lang="nl-NL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af-ZA" sz="1600" dirty="0" smtClean="0">
                          <a:latin typeface="+mn-lt"/>
                        </a:rPr>
                        <a:t>Little Karoo (George/</a:t>
                      </a:r>
                    </a:p>
                    <a:p>
                      <a:r>
                        <a:rPr lang="af-ZA" sz="1600" dirty="0" smtClean="0">
                          <a:latin typeface="+mn-lt"/>
                        </a:rPr>
                        <a:t>Oudtshoorn/Kannaland)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af-ZA" sz="1600" dirty="0" smtClean="0">
                          <a:latin typeface="+mn-lt"/>
                        </a:rPr>
                        <a:t>975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latin typeface="+mn-lt"/>
                        </a:rPr>
                        <a:t>975</a:t>
                      </a:r>
                    </a:p>
                    <a:p>
                      <a:pPr algn="ctr"/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+mn-lt"/>
                        </a:rPr>
                        <a:t>975</a:t>
                      </a:r>
                    </a:p>
                    <a:p>
                      <a:pPr algn="ctr"/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767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8995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sz="2400" dirty="0"/>
              <a:t>STATUS OF EXISTING/PLANNED PROJECTS WITHIN 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 smtClean="0"/>
              <a:t>GARDEN ROUTE DISTRICT</a:t>
            </a:r>
            <a:r>
              <a:rPr lang="en-US" sz="2400" dirty="0" smtClean="0"/>
              <a:t> </a:t>
            </a:r>
            <a:r>
              <a:rPr lang="en-US" sz="2400" dirty="0"/>
              <a:t>(2023/24-2025/26) </a:t>
            </a: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682630"/>
              </p:ext>
            </p:extLst>
          </p:nvPr>
        </p:nvGraphicFramePr>
        <p:xfrm>
          <a:off x="364530" y="1109343"/>
          <a:ext cx="11462940" cy="52494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283235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2312894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1506070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331259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1029482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104010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AGRICULTURAL ECONOMIC SERVICES PROGRAMME</a:t>
                      </a:r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67173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3/24 (R’000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4/25 (R’000)</a:t>
                      </a:r>
                      <a:endParaRPr lang="en-ZA" sz="3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ZA" sz="1600" b="1" kern="120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</a:rPr>
                        <a:t>2025/26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  <a:endParaRPr lang="en-ZA" sz="16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7229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 Financial/Productio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ord Keep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jects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2xHerbs, Eggs, Bee-keeping, Beef, Beef &amp; Sheep &amp; vegetables enterprises)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sselbay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2672"/>
                  </a:ext>
                </a:extLst>
              </a:tr>
              <a:tr h="669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Financial/Production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ecord Keeping projects</a:t>
                      </a:r>
                    </a:p>
                    <a:p>
                      <a:pPr marL="0" algn="l" defTabSz="914400" rtl="0" eaLnBrk="1" latinLnBrk="0" hangingPunct="1"/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Pome fruit, Bee-keeping enterprises)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ssequa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7226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Financial Recording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Keeping projects</a:t>
                      </a:r>
                    </a:p>
                    <a:p>
                      <a:pPr marL="0" algn="l" defTabSz="914400" rtl="0" eaLnBrk="1" latinLnBrk="0" hangingPunct="1"/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Livestock enterprises)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rg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  <a:tr h="595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Financial Record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Keeping projects</a:t>
                      </a:r>
                    </a:p>
                    <a:p>
                      <a:pPr marL="0" algn="l" defTabSz="914400" rtl="0" eaLnBrk="1" latinLnBrk="0" hangingPunct="1"/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2 Pome fruit, 1 livestock enterprises)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dtshoorn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support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859020"/>
                  </a:ext>
                </a:extLst>
              </a:tr>
              <a:tr h="727464"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+mn-lt"/>
                        </a:rPr>
                        <a:t>3 Financial/Production</a:t>
                      </a:r>
                      <a:r>
                        <a:rPr lang="nl-NL" sz="1600" baseline="0" dirty="0" smtClean="0">
                          <a:latin typeface="+mn-lt"/>
                        </a:rPr>
                        <a:t> Record Keeping projects</a:t>
                      </a:r>
                    </a:p>
                    <a:p>
                      <a:r>
                        <a:rPr lang="nl-NL" sz="1600" baseline="0" dirty="0" smtClean="0">
                          <a:latin typeface="+mn-lt"/>
                        </a:rPr>
                        <a:t>(Honeybush, Livestock &amp; Beef/sheep enterprises)</a:t>
                      </a:r>
                      <a:endParaRPr lang="nl-NL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>
                          <a:latin typeface="+mn-lt"/>
                        </a:rPr>
                        <a:t>Bitou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+mn-lt"/>
                        </a:rPr>
                        <a:t>On</a:t>
                      </a:r>
                      <a:r>
                        <a:rPr lang="en-US" sz="1600" baseline="0" dirty="0" smtClean="0">
                          <a:latin typeface="+mn-lt"/>
                        </a:rPr>
                        <a:t> going support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+mn-lt"/>
                        </a:rPr>
                        <a:t>On going Support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n-lt"/>
                        </a:rPr>
                        <a:t>-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767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sz="2400" dirty="0"/>
              <a:t>STATUS OF EXISTING/PLANNED PROJECTS WITHIN 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 smtClean="0"/>
              <a:t>GARDEN ROUTE DISTRICT</a:t>
            </a:r>
            <a:r>
              <a:rPr lang="en-US" sz="2400" dirty="0" smtClean="0"/>
              <a:t> </a:t>
            </a:r>
            <a:r>
              <a:rPr lang="en-US" sz="2400" dirty="0"/>
              <a:t>(2023/24-2025/26) </a:t>
            </a: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390065"/>
              </p:ext>
            </p:extLst>
          </p:nvPr>
        </p:nvGraphicFramePr>
        <p:xfrm>
          <a:off x="364530" y="1109343"/>
          <a:ext cx="11531548" cy="448046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528201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1711235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2233748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2026023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2032341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107407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AGRICULTURAL</a:t>
                      </a:r>
                      <a:r>
                        <a:rPr lang="en-ZA" sz="1800" b="1" baseline="0" dirty="0" smtClean="0">
                          <a:latin typeface="Century Gothic" panose="020B0502020202020204" pitchFamily="34" charset="0"/>
                        </a:rPr>
                        <a:t> EDUCATION AND TRAINING</a:t>
                      </a: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 </a:t>
                      </a:r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600" b="1" dirty="0" smtClean="0">
                          <a:latin typeface="Century Gothic" panose="020B0502020202020204" pitchFamily="34" charset="0"/>
                        </a:rPr>
                        <a:t>TRAINING</a:t>
                      </a:r>
                      <a:r>
                        <a:rPr lang="en-US" sz="1600" b="1" baseline="0" dirty="0" smtClean="0">
                          <a:latin typeface="Century Gothic" panose="020B0502020202020204" pitchFamily="34" charset="0"/>
                        </a:rPr>
                        <a:t> ROLLED OUT AND PLANNED</a:t>
                      </a:r>
                      <a:endParaRPr lang="en-US" sz="1600" b="1" dirty="0">
                        <a:latin typeface="Century Gothic" panose="020B0502020202020204" pitchFamily="34" charset="0"/>
                      </a:endParaRPr>
                    </a:p>
                    <a:p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69367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 smtClean="0">
                          <a:latin typeface="Century Gothic" panose="020B0502020202020204" pitchFamily="34" charset="0"/>
                        </a:rPr>
                        <a:t>2022/23</a:t>
                      </a:r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 smtClean="0">
                          <a:latin typeface="Century Gothic" panose="020B0502020202020204" pitchFamily="34" charset="0"/>
                        </a:rPr>
                        <a:t>2023/24</a:t>
                      </a:r>
                      <a:endParaRPr lang="en-ZA" sz="3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ZA" sz="16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</a:rPr>
                        <a:t>2024/25 </a:t>
                      </a:r>
                      <a:endParaRPr lang="en-ZA" sz="16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7465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redited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amp; Non accredited course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trict wid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lled out 115 short course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with 1031 beneficiaries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2672"/>
                  </a:ext>
                </a:extLst>
              </a:tr>
              <a:tr h="6913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redited &amp; Non accredited courses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trict wid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lled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ut 57 short courses with 790 beneficiaries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7462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nl-NL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redited &amp;</a:t>
                      </a:r>
                      <a:r>
                        <a:rPr lang="nl-NL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on accredited courses</a:t>
                      </a:r>
                      <a:endParaRPr lang="nl-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trict wide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rget to enroll 500 beneficiarie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Short courses still to be determined.</a:t>
                      </a:r>
                      <a:endParaRPr lang="en-ZA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474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sz="2400" dirty="0"/>
              <a:t>STATUS OF EXISTING/PLANNED PROJECTS WITHIN </a:t>
            </a:r>
            <a:r>
              <a:rPr lang="en-US" sz="2400" dirty="0" smtClean="0"/>
              <a:t>GARDEN ROUTE DISTRICT</a:t>
            </a:r>
            <a:br>
              <a:rPr lang="en-US" sz="2400" dirty="0" smtClean="0"/>
            </a:br>
            <a:r>
              <a:rPr lang="en-US" sz="2400" dirty="0" smtClean="0"/>
              <a:t> </a:t>
            </a:r>
            <a:r>
              <a:rPr lang="en-US" sz="2400" dirty="0"/>
              <a:t>(2023/24-2025/26) </a:t>
            </a: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D1C80D-73AF-43B5-B54E-02C0157DF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9259514"/>
              </p:ext>
            </p:extLst>
          </p:nvPr>
        </p:nvGraphicFramePr>
        <p:xfrm>
          <a:off x="215153" y="1109343"/>
          <a:ext cx="11819964" cy="51256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429241">
                  <a:extLst>
                    <a:ext uri="{9D8B030D-6E8A-4147-A177-3AD203B41FA5}">
                      <a16:colId xmlns:a16="http://schemas.microsoft.com/office/drawing/2014/main" val="2771604366"/>
                    </a:ext>
                  </a:extLst>
                </a:gridCol>
                <a:gridCol w="3102424">
                  <a:extLst>
                    <a:ext uri="{9D8B030D-6E8A-4147-A177-3AD203B41FA5}">
                      <a16:colId xmlns:a16="http://schemas.microsoft.com/office/drawing/2014/main" val="2296373551"/>
                    </a:ext>
                  </a:extLst>
                </a:gridCol>
                <a:gridCol w="1142998">
                  <a:extLst>
                    <a:ext uri="{9D8B030D-6E8A-4147-A177-3AD203B41FA5}">
                      <a16:colId xmlns:a16="http://schemas.microsoft.com/office/drawing/2014/main" val="126090652"/>
                    </a:ext>
                  </a:extLst>
                </a:gridCol>
                <a:gridCol w="1102177">
                  <a:extLst>
                    <a:ext uri="{9D8B030D-6E8A-4147-A177-3AD203B41FA5}">
                      <a16:colId xmlns:a16="http://schemas.microsoft.com/office/drawing/2014/main" val="2681747422"/>
                    </a:ext>
                  </a:extLst>
                </a:gridCol>
                <a:gridCol w="1043124">
                  <a:extLst>
                    <a:ext uri="{9D8B030D-6E8A-4147-A177-3AD203B41FA5}">
                      <a16:colId xmlns:a16="http://schemas.microsoft.com/office/drawing/2014/main" val="2617547628"/>
                    </a:ext>
                  </a:extLst>
                </a:gridCol>
              </a:tblGrid>
              <a:tr h="58498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 smtClean="0">
                          <a:latin typeface="Century Gothic" panose="020B0502020202020204" pitchFamily="34" charset="0"/>
                        </a:rPr>
                        <a:t>RURAL</a:t>
                      </a:r>
                      <a:r>
                        <a:rPr lang="en-ZA" sz="1800" b="1" baseline="0" dirty="0" smtClean="0">
                          <a:latin typeface="Century Gothic" panose="020B0502020202020204" pitchFamily="34" charset="0"/>
                        </a:rPr>
                        <a:t> DEVELOPMENT PROGRAMME</a:t>
                      </a:r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Municipal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ZA" sz="1800" b="1" dirty="0">
                          <a:latin typeface="Century Gothic" panose="020B0502020202020204" pitchFamily="34" charset="0"/>
                        </a:rPr>
                        <a:t>Area / Town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b="1" dirty="0">
                          <a:latin typeface="Century Gothic" panose="020B0502020202020204" pitchFamily="34" charset="0"/>
                        </a:rPr>
                        <a:t>Timing/ Phasing of Project Allocation per Blue Book</a:t>
                      </a:r>
                    </a:p>
                    <a:p>
                      <a:endParaRPr lang="en-ZA" sz="18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823813"/>
                  </a:ext>
                </a:extLst>
              </a:tr>
              <a:tr h="24612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3/24 (R’000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2024/25 (R’000)</a:t>
                      </a:r>
                      <a:endParaRPr lang="en-ZA" sz="3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ZA" sz="1600" b="1" kern="120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</a:rPr>
                        <a:t>2025/26 </a:t>
                      </a:r>
                      <a:r>
                        <a:rPr lang="en-ZA" sz="1600" b="1" dirty="0">
                          <a:latin typeface="Century Gothic" panose="020B0502020202020204" pitchFamily="34" charset="0"/>
                        </a:rPr>
                        <a:t>(R’000)</a:t>
                      </a:r>
                      <a:endParaRPr lang="en-ZA" sz="16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352007"/>
                  </a:ext>
                </a:extLst>
              </a:tr>
              <a:tr h="5545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estern Cape Department of Agriculture /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8: Awareness Sessions and Information Session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tou / Knysna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52672"/>
                  </a:ext>
                </a:extLst>
              </a:tr>
              <a:tr h="5782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estern Cape Department of Agriculture /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8: Awareness Sessions and Information Sessions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rge/</a:t>
                      </a:r>
                      <a:r>
                        <a:rPr lang="en-ZA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gkloof</a:t>
                      </a:r>
                      <a:r>
                        <a:rPr lang="en-ZA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ea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 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781727"/>
                  </a:ext>
                </a:extLst>
              </a:tr>
              <a:tr h="5916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estern Cape Department of Agriculture /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8: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abour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Rights &amp; Responsibilities Project (Workshops 2023/ 2024)</a:t>
                      </a:r>
                      <a:endParaRPr lang="nl-NL" sz="14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ssequa</a:t>
                      </a: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/Riversdale &amp; </a:t>
                      </a:r>
                      <a:r>
                        <a:rPr lang="en-ZA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bertinia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586457"/>
                  </a:ext>
                </a:extLst>
              </a:tr>
              <a:tr h="595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estern Cape Department of Agriculture /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8: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Labour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Rights &amp; Responsibilities Project (Workshops 2023/ 2024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dtshoorn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go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859020"/>
                  </a:ext>
                </a:extLst>
              </a:tr>
              <a:tr h="363732"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estern Cape Department of Agriculture /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8: </a:t>
                      </a:r>
                      <a:r>
                        <a:rPr lang="nl-NL" sz="1400" dirty="0">
                          <a:latin typeface="+mj-lt"/>
                        </a:rPr>
                        <a:t>Western Cape Prestige Awards Compet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latin typeface="+mn-lt"/>
                        </a:rPr>
                        <a:t>Hessequa</a:t>
                      </a:r>
                      <a:r>
                        <a:rPr lang="en-US" sz="1400" dirty="0">
                          <a:latin typeface="+mn-lt"/>
                        </a:rPr>
                        <a:t>, Oudtshoorn, Mossel Bay, Georg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On going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On going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-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767092"/>
                  </a:ext>
                </a:extLst>
              </a:tr>
              <a:tr h="363732"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estern Cape Department of Agriculture /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8: </a:t>
                      </a:r>
                      <a:r>
                        <a:rPr lang="nl-NL" sz="1400" dirty="0">
                          <a:latin typeface="+mj-lt"/>
                        </a:rPr>
                        <a:t>Agrifemina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Bitou /Knysna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On going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Ongoing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093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54911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136478"/>
            <a:ext cx="11462940" cy="692531"/>
          </a:xfrm>
        </p:spPr>
        <p:txBody>
          <a:bodyPr/>
          <a:lstStyle/>
          <a:p>
            <a:pPr algn="ctr"/>
            <a:r>
              <a:rPr lang="en-US" dirty="0"/>
              <a:t>RESPONSE ON ISSUES RAISED BY MUNICIPALITIES</a:t>
            </a:r>
            <a:endParaRPr lang="en-ZA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0F2B044-BFD7-67C4-3DC6-8BE680935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97035"/>
              </p:ext>
            </p:extLst>
          </p:nvPr>
        </p:nvGraphicFramePr>
        <p:xfrm>
          <a:off x="475861" y="1334277"/>
          <a:ext cx="11084768" cy="32395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3829">
                  <a:extLst>
                    <a:ext uri="{9D8B030D-6E8A-4147-A177-3AD203B41FA5}">
                      <a16:colId xmlns:a16="http://schemas.microsoft.com/office/drawing/2014/main" val="3294514530"/>
                    </a:ext>
                  </a:extLst>
                </a:gridCol>
                <a:gridCol w="8210939">
                  <a:extLst>
                    <a:ext uri="{9D8B030D-6E8A-4147-A177-3AD203B41FA5}">
                      <a16:colId xmlns:a16="http://schemas.microsoft.com/office/drawing/2014/main" val="113453763"/>
                    </a:ext>
                  </a:extLst>
                </a:gridCol>
              </a:tblGrid>
              <a:tr h="522514">
                <a:tc>
                  <a:txBody>
                    <a:bodyPr/>
                    <a:lstStyle/>
                    <a:p>
                      <a:r>
                        <a:rPr lang="en-US" dirty="0"/>
                        <a:t>Community Issue</a:t>
                      </a:r>
                      <a:endParaRPr lang="en-ZA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ctor Response</a:t>
                      </a:r>
                      <a:endParaRPr lang="en-ZA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9428625"/>
                  </a:ext>
                </a:extLst>
              </a:tr>
              <a:tr h="522514">
                <a:tc>
                  <a:txBody>
                    <a:bodyPr/>
                    <a:lstStyle/>
                    <a:p>
                      <a:r>
                        <a:rPr lang="en-US" dirty="0" smtClean="0"/>
                        <a:t>Water-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Kamanassie</a:t>
                      </a:r>
                      <a:r>
                        <a:rPr lang="en-US" dirty="0" smtClean="0"/>
                        <a:t>/</a:t>
                      </a:r>
                      <a:r>
                        <a:rPr lang="en-US" dirty="0" err="1" smtClean="0"/>
                        <a:t>Stompdrift</a:t>
                      </a:r>
                      <a:r>
                        <a:rPr lang="en-US" baseline="0" dirty="0" smtClean="0"/>
                        <a:t> dam-</a:t>
                      </a:r>
                      <a:r>
                        <a:rPr lang="en-US" baseline="0" dirty="0" err="1" smtClean="0"/>
                        <a:t>Dept</a:t>
                      </a:r>
                      <a:r>
                        <a:rPr lang="en-US" baseline="0" dirty="0" smtClean="0"/>
                        <a:t> has formed a Klein Karoo Water Task Team looking into water matters of concern to farmers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881841"/>
                  </a:ext>
                </a:extLst>
              </a:tr>
              <a:tr h="522514">
                <a:tc>
                  <a:txBody>
                    <a:bodyPr/>
                    <a:lstStyle/>
                    <a:p>
                      <a:r>
                        <a:rPr lang="en-US" dirty="0" smtClean="0"/>
                        <a:t>Land</a:t>
                      </a:r>
                      <a:r>
                        <a:rPr lang="en-US" baseline="0" dirty="0" smtClean="0"/>
                        <a:t> for Agricultur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 State owned Farms-</a:t>
                      </a:r>
                      <a:r>
                        <a:rPr lang="en-US" dirty="0" err="1" smtClean="0"/>
                        <a:t>Waaikraal</a:t>
                      </a:r>
                      <a:r>
                        <a:rPr lang="en-US" dirty="0" smtClean="0"/>
                        <a:t>-</a:t>
                      </a:r>
                      <a:r>
                        <a:rPr lang="en-US" dirty="0" err="1" smtClean="0"/>
                        <a:t>Oudtshoorn</a:t>
                      </a:r>
                      <a:r>
                        <a:rPr lang="en-US" baseline="0" dirty="0" smtClean="0"/>
                        <a:t> and </a:t>
                      </a:r>
                      <a:r>
                        <a:rPr lang="en-US" baseline="0" dirty="0" err="1" smtClean="0"/>
                        <a:t>Amalienstein-Kannaland</a:t>
                      </a:r>
                      <a:r>
                        <a:rPr lang="en-US" baseline="0" dirty="0" smtClean="0"/>
                        <a:t> is under discussion as part of land reform-A consultation phase is in process as part of the turn around strategy for </a:t>
                      </a:r>
                      <a:r>
                        <a:rPr lang="en-US" baseline="0" dirty="0" err="1" smtClean="0"/>
                        <a:t>Kannaland</a:t>
                      </a:r>
                      <a:r>
                        <a:rPr lang="en-US" baseline="0" dirty="0" smtClean="0"/>
                        <a:t>.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035345"/>
                  </a:ext>
                </a:extLst>
              </a:tr>
              <a:tr h="522514">
                <a:tc>
                  <a:txBody>
                    <a:bodyPr/>
                    <a:lstStyle/>
                    <a:p>
                      <a:r>
                        <a:rPr lang="en-US" dirty="0" smtClean="0"/>
                        <a:t>Garden</a:t>
                      </a:r>
                      <a:r>
                        <a:rPr lang="en-US" baseline="0" dirty="0" smtClean="0"/>
                        <a:t> Route Abattoir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Dept</a:t>
                      </a:r>
                      <a:r>
                        <a:rPr lang="en-US" dirty="0" smtClean="0"/>
                        <a:t> of Agriculture is looing</a:t>
                      </a:r>
                      <a:r>
                        <a:rPr lang="en-US" baseline="0" dirty="0" smtClean="0"/>
                        <a:t> into the current operations and distribution of abattoirs in the Garden Route region.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521006"/>
                  </a:ext>
                </a:extLst>
              </a:tr>
              <a:tr h="522514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22632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0311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yj0GZytsYyHzdEbE739xHp4kQDM8hc57"/>
  <p:tag name="SMARTBOX_SB8" val="F5QX85HIMGeVvN8Cf48PVQ=="/>
  <p:tag name="SMARTBOX_SB7" val="QuY7wIsQF9J1so/hMjt5ug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032</TotalTime>
  <Words>994</Words>
  <Application>Microsoft Office PowerPoint</Application>
  <PresentationFormat>Widescreen</PresentationFormat>
  <Paragraphs>24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entury Gothic</vt:lpstr>
      <vt:lpstr>Wingdings</vt:lpstr>
      <vt:lpstr>WCG-PPT Master-121022-amc</vt:lpstr>
      <vt:lpstr>think-cell Slide</vt:lpstr>
      <vt:lpstr>PowerPoint Presentation</vt:lpstr>
      <vt:lpstr>Support available to municipalities</vt:lpstr>
      <vt:lpstr>STATUS OF EXISTING/PLANNED PROJECTS WITHIN  GARDEN ROUTE DISTRICT (2023/24-2025/26) </vt:lpstr>
      <vt:lpstr>STATUS OF EXISTING/PLANNED PROJECTS WITHIN  GARDEN ROUTE DISTRICT (2023/24-2025/26) </vt:lpstr>
      <vt:lpstr>STATUS OF EXISTING/PLANNED PROJECTS  WITHIN GARDEN ROUTE DISTRICT (2023/24-2025/26) </vt:lpstr>
      <vt:lpstr>STATUS OF EXISTING/PLANNED PROJECTS WITHIN  GARDEN ROUTE DISTRICT (2023/24-2025/26) </vt:lpstr>
      <vt:lpstr>STATUS OF EXISTING/PLANNED PROJECTS WITHIN  GARDEN ROUTE DISTRICT (2023/24-2025/26) </vt:lpstr>
      <vt:lpstr>STATUS OF EXISTING/PLANNED PROJECTS WITHIN GARDEN ROUTE DISTRICT  (2023/24-2025/26) </vt:lpstr>
      <vt:lpstr>RESPONSE ON ISSUES RAISED BY MUNICIPALITIES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Kritzinger, Japie</cp:lastModifiedBy>
  <cp:revision>1548</cp:revision>
  <cp:lastPrinted>2019-01-28T07:09:01Z</cp:lastPrinted>
  <dcterms:created xsi:type="dcterms:W3CDTF">2017-01-19T08:56:34Z</dcterms:created>
  <dcterms:modified xsi:type="dcterms:W3CDTF">2023-11-22T09:37:29Z</dcterms:modified>
</cp:coreProperties>
</file>